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7272"/>
    <a:srgbClr val="F6F6F6"/>
    <a:srgbClr val="5A5A5A"/>
    <a:srgbClr val="444444"/>
    <a:srgbClr val="E5E5E5"/>
    <a:srgbClr val="A8A8A8"/>
    <a:srgbClr val="8D8D8D"/>
    <a:srgbClr val="BDBDBD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0:51.723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20:51.723" v="5" actId="27918"/>
        <pc:sldMkLst>
          <pc:docMk/>
          <pc:sldMk cId="2543225151" sldId="40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Markt Personenverkehr und Produktion Personenverkehr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8283368277230001</c:v>
                </c:pt>
                <c:pt idx="1">
                  <c:v>0.57791295489000005</c:v>
                </c:pt>
                <c:pt idx="2">
                  <c:v>0.72153651090999993</c:v>
                </c:pt>
                <c:pt idx="3">
                  <c:v>0.75046792439999999</c:v>
                </c:pt>
                <c:pt idx="4">
                  <c:v>0.89454509217</c:v>
                </c:pt>
                <c:pt idx="5">
                  <c:v>1.1871844599050101</c:v>
                </c:pt>
                <c:pt idx="6">
                  <c:v>0.93675952575999999</c:v>
                </c:pt>
                <c:pt idx="7">
                  <c:v>0.80510579250657099</c:v>
                </c:pt>
                <c:pt idx="8">
                  <c:v>0.68115935371000003</c:v>
                </c:pt>
                <c:pt idx="9">
                  <c:v>0.99635057498000001</c:v>
                </c:pt>
                <c:pt idx="10">
                  <c:v>1.14167884413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en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0.55061685219000001</c:v>
                </c:pt>
                <c:pt idx="1">
                  <c:v>0.55449757157000001</c:v>
                </c:pt>
                <c:pt idx="2">
                  <c:v>0.68340522972999995</c:v>
                </c:pt>
                <c:pt idx="3">
                  <c:v>0.61872345032999998</c:v>
                </c:pt>
                <c:pt idx="4">
                  <c:v>0.58587582732999999</c:v>
                </c:pt>
                <c:pt idx="5">
                  <c:v>0.46327612801000001</c:v>
                </c:pt>
                <c:pt idx="6">
                  <c:v>0.41223381136000004</c:v>
                </c:pt>
                <c:pt idx="7">
                  <c:v>0.50162527670000001</c:v>
                </c:pt>
                <c:pt idx="8">
                  <c:v>0.57835182270999996</c:v>
                </c:pt>
                <c:pt idx="9">
                  <c:v>0.46478766754</c:v>
                </c:pt>
                <c:pt idx="10">
                  <c:v>0.5947693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Güterverkehr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.000</c:formatCode>
                <c:ptCount val="11"/>
                <c:pt idx="0">
                  <c:v>2.7714453720000001E-2</c:v>
                </c:pt>
                <c:pt idx="1">
                  <c:v>1.8395506739999998E-2</c:v>
                </c:pt>
                <c:pt idx="2">
                  <c:v>3.0482708840000001E-2</c:v>
                </c:pt>
                <c:pt idx="3">
                  <c:v>3.3709855660000003E-2</c:v>
                </c:pt>
                <c:pt idx="4">
                  <c:v>3.41360847E-2</c:v>
                </c:pt>
                <c:pt idx="5">
                  <c:v>3.7950270030480501E-2</c:v>
                </c:pt>
                <c:pt idx="6">
                  <c:v>3.1848191114242905E-2</c:v>
                </c:pt>
                <c:pt idx="7">
                  <c:v>1.7805723632602698E-2</c:v>
                </c:pt>
                <c:pt idx="8">
                  <c:v>2.3656667707650202E-2</c:v>
                </c:pt>
                <c:pt idx="9">
                  <c:v>4.7227550200000003E-2</c:v>
                </c:pt>
                <c:pt idx="10">
                  <c:v>1.3059167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ktur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#,##0.000</c:formatCode>
                <c:ptCount val="11"/>
                <c:pt idx="0">
                  <c:v>2.1402772349300001</c:v>
                </c:pt>
                <c:pt idx="1">
                  <c:v>5.7711939926399998</c:v>
                </c:pt>
                <c:pt idx="2">
                  <c:v>2.0749476292</c:v>
                </c:pt>
                <c:pt idx="3">
                  <c:v>2.1382653223300001</c:v>
                </c:pt>
                <c:pt idx="4">
                  <c:v>2.9930333324100005</c:v>
                </c:pt>
                <c:pt idx="5">
                  <c:v>3.6330772980699999</c:v>
                </c:pt>
                <c:pt idx="6">
                  <c:v>2.0585050420300002</c:v>
                </c:pt>
                <c:pt idx="7">
                  <c:v>3.0301850943600002</c:v>
                </c:pt>
                <c:pt idx="8">
                  <c:v>2.36938620957</c:v>
                </c:pt>
                <c:pt idx="9">
                  <c:v>2.3203278421499998</c:v>
                </c:pt>
                <c:pt idx="10">
                  <c:v>2.57128757257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Konzernbereiche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#,##0.000</c:formatCode>
                <c:ptCount val="11"/>
                <c:pt idx="0">
                  <c:v>4.939953129E-2</c:v>
                </c:pt>
                <c:pt idx="1">
                  <c:v>3.3320021060000003E-2</c:v>
                </c:pt>
                <c:pt idx="2">
                  <c:v>2.878219374E-2</c:v>
                </c:pt>
                <c:pt idx="3">
                  <c:v>2.2944197750000003E-2</c:v>
                </c:pt>
                <c:pt idx="4">
                  <c:v>2.6484992200000002E-2</c:v>
                </c:pt>
                <c:pt idx="5">
                  <c:v>2.0499518179999999E-2</c:v>
                </c:pt>
                <c:pt idx="6">
                  <c:v>3.0299639320000002E-2</c:v>
                </c:pt>
                <c:pt idx="7">
                  <c:v>3.7238405299999999E-2</c:v>
                </c:pt>
                <c:pt idx="8">
                  <c:v>4.3917000669999998E-2</c:v>
                </c:pt>
                <c:pt idx="9">
                  <c:v>4.1738078330000004E-2</c:v>
                </c:pt>
                <c:pt idx="10">
                  <c:v>4.577581809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3638730899725711"/>
          <c:h val="4.527978894363850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573</cdr:x>
      <cdr:y>0.0829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438"/>
          <a:ext cx="66741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rd.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ilanzwirksame Anlagenzugäng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260337596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517686" y="6065273"/>
            <a:ext cx="6921695" cy="41344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ktivierbare, bilanzwirksame Zugänge von Sachanlagen und immateriellen Anlagen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86D711-4E98-494E-974E-9B8F76531E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Bilanzwirksame Anlagenzugäng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anzwirksame Anlagenzugänge.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